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2" r:id="rId4"/>
    <p:sldMasterId id="2147484067" r:id="rId5"/>
  </p:sldMasterIdLst>
  <p:notesMasterIdLst>
    <p:notesMasterId r:id="rId8"/>
  </p:notesMasterIdLst>
  <p:sldIdLst>
    <p:sldId id="2046" r:id="rId6"/>
    <p:sldId id="2044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30D"/>
    <a:srgbClr val="3CA2BA"/>
    <a:srgbClr val="179C7D"/>
    <a:srgbClr val="FFFFFF"/>
    <a:srgbClr val="E99444"/>
    <a:srgbClr val="D2519D"/>
    <a:srgbClr val="32AFC3"/>
    <a:srgbClr val="9C9386"/>
    <a:srgbClr val="2DB391"/>
    <a:srgbClr val="FCF1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A00891-7678-41EC-968B-7AF38A218C1F}" v="20" dt="2023-04-12T10:58:02.0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>
        <p:scale>
          <a:sx n="82" d="100"/>
          <a:sy n="82" d="100"/>
        </p:scale>
        <p:origin x="45" y="22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fgang Kratsch" userId="0931017f-3864-4561-a746-cb4f4463d9da" providerId="ADAL" clId="{7FC9589A-D6BD-4BEB-886C-64F41F6482CF}"/>
    <pc:docChg chg="undo custSel addSld delSld">
      <pc:chgData name="Wolfgang Kratsch" userId="0931017f-3864-4561-a746-cb4f4463d9da" providerId="ADAL" clId="{7FC9589A-D6BD-4BEB-886C-64F41F6482CF}" dt="2023-04-12T12:12:32.672" v="4" actId="47"/>
      <pc:docMkLst>
        <pc:docMk/>
      </pc:docMkLst>
      <pc:sldChg chg="del">
        <pc:chgData name="Wolfgang Kratsch" userId="0931017f-3864-4561-a746-cb4f4463d9da" providerId="ADAL" clId="{7FC9589A-D6BD-4BEB-886C-64F41F6482CF}" dt="2023-04-12T12:12:23.943" v="0" actId="47"/>
        <pc:sldMkLst>
          <pc:docMk/>
          <pc:sldMk cId="1837050544" sldId="256"/>
        </pc:sldMkLst>
      </pc:sldChg>
      <pc:sldChg chg="del">
        <pc:chgData name="Wolfgang Kratsch" userId="0931017f-3864-4561-a746-cb4f4463d9da" providerId="ADAL" clId="{7FC9589A-D6BD-4BEB-886C-64F41F6482CF}" dt="2023-04-12T12:12:32.672" v="4" actId="47"/>
        <pc:sldMkLst>
          <pc:docMk/>
          <pc:sldMk cId="2007338421" sldId="1359"/>
        </pc:sldMkLst>
      </pc:sldChg>
      <pc:sldChg chg="add del">
        <pc:chgData name="Wolfgang Kratsch" userId="0931017f-3864-4561-a746-cb4f4463d9da" providerId="ADAL" clId="{7FC9589A-D6BD-4BEB-886C-64F41F6482CF}" dt="2023-04-12T12:12:31.001" v="3" actId="47"/>
        <pc:sldMkLst>
          <pc:docMk/>
          <pc:sldMk cId="1213031943" sldId="2044"/>
        </pc:sldMkLst>
      </pc:sldChg>
      <pc:sldChg chg="del">
        <pc:chgData name="Wolfgang Kratsch" userId="0931017f-3864-4561-a746-cb4f4463d9da" providerId="ADAL" clId="{7FC9589A-D6BD-4BEB-886C-64F41F6482CF}" dt="2023-04-12T12:12:24.656" v="1" actId="47"/>
        <pc:sldMkLst>
          <pc:docMk/>
          <pc:sldMk cId="3168871608" sldId="204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31E23-3671-4EB1-A929-4F2D23AD3768}" type="datetimeFigureOut">
              <a:rPr lang="en-US" smtClean="0"/>
              <a:t>4/1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35E42-08C2-4B51-8226-949D8765D5F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11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11" Type="http://schemas.openxmlformats.org/officeDocument/2006/relationships/image" Target="../media/image15.png"/><Relationship Id="rId5" Type="http://schemas.openxmlformats.org/officeDocument/2006/relationships/image" Target="../media/image2.png"/><Relationship Id="rId10" Type="http://schemas.openxmlformats.org/officeDocument/2006/relationships/image" Target="../media/image14.svg"/><Relationship Id="rId4" Type="http://schemas.openxmlformats.org/officeDocument/2006/relationships/image" Target="../media/image5.svg"/><Relationship Id="rId9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14.svg"/><Relationship Id="rId4" Type="http://schemas.openxmlformats.org/officeDocument/2006/relationships/image" Target="../media/image5.svg"/><Relationship Id="rId9" Type="http://schemas.openxmlformats.org/officeDocument/2006/relationships/image" Target="../media/image13.png"/><Relationship Id="rId14" Type="http://schemas.openxmlformats.org/officeDocument/2006/relationships/image" Target="../media/image1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hyperlink" Target="http://www.wirtschaftsinformatik.fraunhofer.de/bise" TargetMode="External"/><Relationship Id="rId7" Type="http://schemas.openxmlformats.org/officeDocument/2006/relationships/image" Target="../media/image19.svg"/><Relationship Id="rId2" Type="http://schemas.openxmlformats.org/officeDocument/2006/relationships/hyperlink" Target="http://www.fim-rc.de/en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hyperlink" Target="http://www.wirtschaftsinformatik.fraunhofer.de/bise" TargetMode="External"/><Relationship Id="rId7" Type="http://schemas.openxmlformats.org/officeDocument/2006/relationships/image" Target="../media/image5.svg"/><Relationship Id="rId2" Type="http://schemas.openxmlformats.org/officeDocument/2006/relationships/hyperlink" Target="http://www.fim-rc.de/en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2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5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C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Christoph Buck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IT-Entrepreneurship and IT-Innovation Management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5165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6D683E5-923C-44F1-BD47-07514E4C1C94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95C88A7B-0C50-4FFD-949F-D01A6977E98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D12E80DD-131D-4DDE-9232-463C263C3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2620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Cont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C8922C9-4411-44CA-BF08-897CD556CDA6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28754179-DC89-41D9-8183-BB6C07D85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4656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2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8A2E3E6-BFDE-4B7C-B8F6-CC1C669E363D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Bildquelle(n): Lorem ipsum dolor sit amet</a:t>
            </a:r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Quelle(n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8322F2B1-B09E-4C43-AAB3-BF8DE534E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1077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608B312-8C5D-4EED-961C-827042501AA1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396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739BE129-055B-4402-B843-72187F532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3099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E52B9E1-A6EF-4B5F-BD3A-4D6DD748952E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8D8DB4EF-E102-4CAA-9504-C6B60983D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00750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1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10A5B98-8661-43CD-9657-F78F4B5A64C6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64000" y="1449389"/>
            <a:ext cx="7178400" cy="4500000"/>
          </a:xfrm>
        </p:spPr>
        <p:txBody>
          <a:bodyPr/>
          <a:lstStyle>
            <a:lvl2pPr>
              <a:defRPr>
                <a:solidFill>
                  <a:srgbClr val="4B4B4B"/>
                </a:solidFill>
              </a:defRPr>
            </a:lvl2pPr>
            <a:lvl3pPr>
              <a:defRPr>
                <a:solidFill>
                  <a:srgbClr val="4B4B4B"/>
                </a:solidFill>
              </a:defRPr>
            </a:lvl3pPr>
            <a:lvl4pPr>
              <a:defRPr>
                <a:solidFill>
                  <a:srgbClr val="4B4B4B"/>
                </a:solidFill>
              </a:defRPr>
            </a:lvl4pPr>
          </a:lstStyle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Image Source(s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77767BC3-EF39-4BA9-BE6F-8DC29070A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189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 only</a:t>
            </a:r>
            <a:br>
              <a:rPr lang="en-US" noProof="0"/>
            </a:br>
            <a:r>
              <a:rPr lang="en-US" noProof="0"/>
              <a:t>For free design   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52AC039-7583-4300-B6F6-5EFD88D3472B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8" name="Fußzeilenplatzhalter 12">
            <a:extLst>
              <a:ext uri="{FF2B5EF4-FFF2-40B4-BE49-F238E27FC236}">
                <a16:creationId xmlns:a16="http://schemas.microsoft.com/office/drawing/2014/main" id="{65E63A6C-6B9D-4ED6-8E4C-40EBF3C22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7141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8339"/>
            <a:ext cx="12191979" cy="5619664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5265142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ACE5DE88-914A-45E9-B338-44AD922FD8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265142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3289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71256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6781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H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Björn </a:t>
            </a:r>
            <a:r>
              <a:rPr lang="en-US" sz="1200" b="1" noProof="0" err="1">
                <a:solidFill>
                  <a:srgbClr val="4B4B4B"/>
                </a:solidFill>
              </a:rPr>
              <a:t>Häckel</a:t>
            </a:r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Digital Value Network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Technology Transfer Center Data Analytic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5426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-23447" y="34131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277" y="1403759"/>
            <a:ext cx="7086599" cy="252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/>
              <a:t>Lorem Ipsum Contac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8210739-A7B5-4727-996A-6EBB55D2A10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277" y="18144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4A0ECCC-1B76-41FA-9A42-339CA6A54D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80576" y="1815996"/>
            <a:ext cx="526205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A80D7F4A-717E-4AE7-802E-EFBF5EB3A3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9821" y="2314359"/>
            <a:ext cx="4962805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778C4C83-CBBB-43B7-8CA1-15800F4FF1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996" y="2524966"/>
            <a:ext cx="495962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2D5A83F5-D380-405C-A134-1681FA791A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80576" y="2034628"/>
            <a:ext cx="526205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47AC124-B133-412E-B0C8-C733A5A92C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8277" y="3327959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1" name="Bildplatzhalter 9">
            <a:extLst>
              <a:ext uri="{FF2B5EF4-FFF2-40B4-BE49-F238E27FC236}">
                <a16:creationId xmlns:a16="http://schemas.microsoft.com/office/drawing/2014/main" id="{BF3FDFB1-FE4B-4E00-8A5E-7C705C797BE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58277" y="48438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6" name="Textplatzhalter 11">
            <a:extLst>
              <a:ext uri="{FF2B5EF4-FFF2-40B4-BE49-F238E27FC236}">
                <a16:creationId xmlns:a16="http://schemas.microsoft.com/office/drawing/2014/main" id="{E1CC5647-09AC-43CF-8FB0-495250281B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82815" y="3326504"/>
            <a:ext cx="525981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80" name="Textplatzhalter 11">
            <a:extLst>
              <a:ext uri="{FF2B5EF4-FFF2-40B4-BE49-F238E27FC236}">
                <a16:creationId xmlns:a16="http://schemas.microsoft.com/office/drawing/2014/main" id="{34482FC8-39A7-4E44-8BF0-6701234DA9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73265" y="3823736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81" name="Textplatzhalter 11">
            <a:extLst>
              <a:ext uri="{FF2B5EF4-FFF2-40B4-BE49-F238E27FC236}">
                <a16:creationId xmlns:a16="http://schemas.microsoft.com/office/drawing/2014/main" id="{03AE6129-D0F8-4E57-B4D8-ADE21CF624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73265" y="4034343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83" name="Textplatzhalter 11">
            <a:extLst>
              <a:ext uri="{FF2B5EF4-FFF2-40B4-BE49-F238E27FC236}">
                <a16:creationId xmlns:a16="http://schemas.microsoft.com/office/drawing/2014/main" id="{ED3F554C-E345-450A-9FA5-BA988E0D9B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82815" y="3544005"/>
            <a:ext cx="525981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8" name="Textplatzhalter 11">
            <a:extLst>
              <a:ext uri="{FF2B5EF4-FFF2-40B4-BE49-F238E27FC236}">
                <a16:creationId xmlns:a16="http://schemas.microsoft.com/office/drawing/2014/main" id="{03464F00-E2CE-4EF3-B4D6-73F09D87EF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82814" y="4850504"/>
            <a:ext cx="5259809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54" name="Textplatzhalter 11">
            <a:extLst>
              <a:ext uri="{FF2B5EF4-FFF2-40B4-BE49-F238E27FC236}">
                <a16:creationId xmlns:a16="http://schemas.microsoft.com/office/drawing/2014/main" id="{315E5A50-1AD0-43A4-9E5E-507A33A226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82814" y="5068005"/>
            <a:ext cx="5259809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55" name="Textplatzhalter 11">
            <a:extLst>
              <a:ext uri="{FF2B5EF4-FFF2-40B4-BE49-F238E27FC236}">
                <a16:creationId xmlns:a16="http://schemas.microsoft.com/office/drawing/2014/main" id="{E6AFFAD5-B741-4842-BF57-A739170380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73265" y="5347736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56" name="Textplatzhalter 11">
            <a:extLst>
              <a:ext uri="{FF2B5EF4-FFF2-40B4-BE49-F238E27FC236}">
                <a16:creationId xmlns:a16="http://schemas.microsoft.com/office/drawing/2014/main" id="{870B6530-504A-49B7-8D2E-F785F2B173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673265" y="5558343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ADDD3474-BB18-4FE4-B07F-41C864C428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95232599-53B2-4520-923F-11F273D5C3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783FE58B-0FE9-4C0B-92C8-3B16153715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083DF9D7-ADE5-4760-90AC-4AB72BFFEE0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2513490"/>
            <a:ext cx="162000" cy="162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D3AFF314-CF29-4D1C-ACDF-9DACD6219D4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0416" y="2306336"/>
            <a:ext cx="162000" cy="162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934C4E3-2D7B-4477-BF0A-4B9CB62C756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4026129"/>
            <a:ext cx="162000" cy="162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220970E7-4372-49C3-90A2-1850820340C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3816174"/>
            <a:ext cx="162000" cy="162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368BB615-AACD-4B20-9F4C-0BD1B34D41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2814" y="5549343"/>
            <a:ext cx="162000" cy="162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601E5CBB-99FA-44DE-BD22-26F18A2E979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5338736"/>
            <a:ext cx="1620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0641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0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00" y="1403759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Closing Slid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3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50800" y="2398214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6B241954-CE54-4ED1-B39C-46A4A3819A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E8F852C-CF63-456C-A9CF-3A6F9AB15D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3C75900-BC45-4EB3-AD1E-AF359B5DA5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366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03 – Aufzählung Links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23"/>
          </p:nvPr>
        </p:nvSpPr>
        <p:spPr>
          <a:xfrm>
            <a:off x="576000" y="2188724"/>
            <a:ext cx="5422240" cy="4370168"/>
          </a:xfrm>
          <a:prstGeom prst="rect">
            <a:avLst/>
          </a:prstGeom>
        </p:spPr>
        <p:txBody>
          <a:bodyPr vert="horz" lIns="0" tIns="0" rIns="0" bIns="0"/>
          <a:lstStyle>
            <a:lvl1pPr marL="191995" indent="-191995">
              <a:spcBef>
                <a:spcPts val="0"/>
              </a:spcBef>
              <a:buFont typeface="Lucida Grande"/>
              <a:buChar char="&gt;"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1989" indent="-239994">
              <a:spcBef>
                <a:spcPts val="133"/>
              </a:spcBef>
              <a:buFont typeface="Lucida Grande"/>
              <a:buChar char="&gt;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4pPr marL="671983" indent="-239994">
              <a:buFont typeface="Lucida Grande"/>
              <a:buChar char="&gt;"/>
              <a:defRPr sz="1867">
                <a:latin typeface=""/>
              </a:defRPr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21"/>
          </p:nvPr>
        </p:nvSpPr>
        <p:spPr>
          <a:xfrm>
            <a:off x="576001" y="672000"/>
            <a:ext cx="8124705" cy="8892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Font typeface="Arial"/>
              <a:buNone/>
              <a:defRPr sz="186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4"/>
          </p:nvPr>
        </p:nvSpPr>
        <p:spPr>
          <a:xfrm>
            <a:off x="6612575" y="2188725"/>
            <a:ext cx="5293675" cy="43701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Bild auf Platzhalter ziehen oder durch Klicken auf Symbol hinzufüg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28.10.2022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© Hochschule Augsburg | Fakultät für Informatik | Dr. Wolfgang Kratsch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EEE60D18-B805-47B7-8A9D-C1AD3B75A23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675889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C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Christoph Buck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IT-Entrepreneurship and IT-Innovation Management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5165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H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Björn </a:t>
            </a:r>
            <a:r>
              <a:rPr lang="en-US" sz="1200" b="1" noProof="0" err="1">
                <a:solidFill>
                  <a:srgbClr val="4B4B4B"/>
                </a:solidFill>
              </a:rPr>
              <a:t>Häckel</a:t>
            </a:r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Digital Value Network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Technology Transfer Center Data Analytic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5426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err="1"/>
              <a:t>Subheadline</a:t>
            </a:r>
            <a:r>
              <a:rPr lang="en-US" noProof="0"/>
              <a:t>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7701BC7E-F65D-4BA6-B108-7B355DE10CA0}"/>
              </a:ext>
            </a:extLst>
          </p:cNvPr>
          <p:cNvSpPr txBox="1"/>
          <p:nvPr userDrawn="1"/>
        </p:nvSpPr>
        <p:spPr>
          <a:xfrm>
            <a:off x="4548554" y="6084588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30153"/>
            <a:ext cx="7106424" cy="9490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1B20D8E-C2F1-4E1D-92DF-567E6DD147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C50BEE1-DB72-453E-8C1C-982C2F4F57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DCDA0D5-813F-4945-8A4A-9D69B9B113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6" name="Textplatzhalter 38">
            <a:extLst>
              <a:ext uri="{FF2B5EF4-FFF2-40B4-BE49-F238E27FC236}">
                <a16:creationId xmlns:a16="http://schemas.microsoft.com/office/drawing/2014/main" id="{C36E9DB3-3E44-42FA-BA6B-5523265819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474" y="3054958"/>
            <a:ext cx="7092583" cy="2659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Degree and name of the presenter</a:t>
            </a:r>
          </a:p>
        </p:txBody>
      </p:sp>
    </p:spTree>
    <p:extLst>
      <p:ext uri="{BB962C8B-B14F-4D97-AF65-F5344CB8AC3E}">
        <p14:creationId xmlns:p14="http://schemas.microsoft.com/office/powerpoint/2010/main" val="19806569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AAC85F5C-574C-4A0C-8861-078BD84474EC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Fußzeilenplatzhalter 12">
            <a:extLst>
              <a:ext uri="{FF2B5EF4-FFF2-40B4-BE49-F238E27FC236}">
                <a16:creationId xmlns:a16="http://schemas.microsoft.com/office/drawing/2014/main" id="{93F34CA0-1F4D-4D06-B77C-D32008BDA8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118625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2034A1B-DE3E-4DC7-BC95-974B27B94B88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C7DE1A76-751E-4D18-8C75-BA2B4C038E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89302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262D91FC-9D9E-4641-A3B5-4A2CA4AC6008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196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196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196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196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139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28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139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28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139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28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139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28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55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01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155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01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155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01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155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01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31" name="Fußzeilenplatzhalter 12">
            <a:extLst>
              <a:ext uri="{FF2B5EF4-FFF2-40B4-BE49-F238E27FC236}">
                <a16:creationId xmlns:a16="http://schemas.microsoft.com/office/drawing/2014/main" id="{4BEA234A-56EB-47F0-B76F-074CD842C3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03043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err="1"/>
              <a:t>Subheadline</a:t>
            </a:r>
            <a:r>
              <a:rPr lang="en-US" noProof="0"/>
              <a:t>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7701BC7E-F65D-4BA6-B108-7B355DE10CA0}"/>
              </a:ext>
            </a:extLst>
          </p:cNvPr>
          <p:cNvSpPr txBox="1"/>
          <p:nvPr userDrawn="1"/>
        </p:nvSpPr>
        <p:spPr>
          <a:xfrm>
            <a:off x="4548554" y="6084588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30153"/>
            <a:ext cx="7106424" cy="9490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1B20D8E-C2F1-4E1D-92DF-567E6DD147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C50BEE1-DB72-453E-8C1C-982C2F4F57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DCDA0D5-813F-4945-8A4A-9D69B9B113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6" name="Textplatzhalter 38">
            <a:extLst>
              <a:ext uri="{FF2B5EF4-FFF2-40B4-BE49-F238E27FC236}">
                <a16:creationId xmlns:a16="http://schemas.microsoft.com/office/drawing/2014/main" id="{C36E9DB3-3E44-42FA-BA6B-5523265819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474" y="3054958"/>
            <a:ext cx="7092583" cy="2659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Degree and name of the presenter</a:t>
            </a:r>
          </a:p>
        </p:txBody>
      </p:sp>
    </p:spTree>
    <p:extLst>
      <p:ext uri="{BB962C8B-B14F-4D97-AF65-F5344CB8AC3E}">
        <p14:creationId xmlns:p14="http://schemas.microsoft.com/office/powerpoint/2010/main" val="19806569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67DFEC7-5C94-430A-975A-8DDFD5733BE9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AF3C72FA-3446-4DA3-BA66-3CF927EBB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7651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19" name="Bildplatzhalter 2">
            <a:extLst>
              <a:ext uri="{FF2B5EF4-FFF2-40B4-BE49-F238E27FC236}">
                <a16:creationId xmlns:a16="http://schemas.microsoft.com/office/drawing/2014/main" id="{573B162B-FDFC-4DCE-9D60-1ACFB47A97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27F698C-DFBC-4237-9CE5-F3928EF2F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0F88ED0-113C-47F0-9DE1-E721839838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762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1" name="Bildplatzhalter 2">
            <a:extLst>
              <a:ext uri="{FF2B5EF4-FFF2-40B4-BE49-F238E27FC236}">
                <a16:creationId xmlns:a16="http://schemas.microsoft.com/office/drawing/2014/main" id="{4652E065-26AB-4D32-AD4B-7D6654BA45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66241EC-1F6C-4DFF-A801-765F63FC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6E1B3BA-9ED0-42A8-BC30-BB3E7634A25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280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7611887-F011-4D13-9328-BE8409EEE484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95C88A7B-0C50-4FFD-949F-D01A6977E98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D12E80DD-131D-4DDE-9232-463C263C3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2620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Cont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A1504FF4-7DA7-45E7-A4F6-E68109001D3A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28754179-DC89-41D9-8183-BB6C07D85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4656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2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727EFAF-E8B2-4713-B01C-AD73AB036B30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Bildquelle(n): Lorem ipsum dolor sit amet</a:t>
            </a:r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Quelle(n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8322F2B1-B09E-4C43-AAB3-BF8DE534E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1077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BA4DA3C-6F88-4688-8214-E21CEF50D7EC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396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739BE129-055B-4402-B843-72187F532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30994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E51F821-C527-47FD-98E3-ECE36695C275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8D8DB4EF-E102-4CAA-9504-C6B60983D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00750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1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ADFBC434-75D6-42F0-8D40-CD055ABD8CA2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64000" y="1449389"/>
            <a:ext cx="7178400" cy="4500000"/>
          </a:xfrm>
        </p:spPr>
        <p:txBody>
          <a:bodyPr/>
          <a:lstStyle>
            <a:lvl2pPr>
              <a:defRPr>
                <a:solidFill>
                  <a:srgbClr val="4B4B4B"/>
                </a:solidFill>
              </a:defRPr>
            </a:lvl2pPr>
            <a:lvl3pPr>
              <a:defRPr>
                <a:solidFill>
                  <a:srgbClr val="4B4B4B"/>
                </a:solidFill>
              </a:defRPr>
            </a:lvl3pPr>
            <a:lvl4pPr>
              <a:defRPr>
                <a:solidFill>
                  <a:srgbClr val="4B4B4B"/>
                </a:solidFill>
              </a:defRPr>
            </a:lvl4pPr>
          </a:lstStyle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Image Source(s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77767BC3-EF39-4BA9-BE6F-8DC29070A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189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 only</a:t>
            </a:r>
            <a:br>
              <a:rPr lang="en-US" noProof="0"/>
            </a:br>
            <a:r>
              <a:rPr lang="en-US" noProof="0"/>
              <a:t>For free design   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45E05A8-F5AE-4E44-B22D-B79C5FDB88CE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8" name="Fußzeilenplatzhalter 12">
            <a:extLst>
              <a:ext uri="{FF2B5EF4-FFF2-40B4-BE49-F238E27FC236}">
                <a16:creationId xmlns:a16="http://schemas.microsoft.com/office/drawing/2014/main" id="{65E63A6C-6B9D-4ED6-8E4C-40EBF3C22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71410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77A1953F-C09E-4DBE-9D3B-9A7F5884ACBA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Fußzeilenplatzhalter 12">
            <a:extLst>
              <a:ext uri="{FF2B5EF4-FFF2-40B4-BE49-F238E27FC236}">
                <a16:creationId xmlns:a16="http://schemas.microsoft.com/office/drawing/2014/main" id="{93F34CA0-1F4D-4D06-B77C-D32008BDA8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118625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8339"/>
            <a:ext cx="12191979" cy="5619664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5265142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ACE5DE88-914A-45E9-B338-44AD922FD8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265142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32898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71256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67818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-23447" y="34131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277" y="1403759"/>
            <a:ext cx="7086599" cy="252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/>
              <a:t>Lorem Ipsum Contac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8210739-A7B5-4727-996A-6EBB55D2A10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277" y="18144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4A0ECCC-1B76-41FA-9A42-339CA6A54D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80576" y="1815996"/>
            <a:ext cx="526205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A80D7F4A-717E-4AE7-802E-EFBF5EB3A3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9821" y="2314359"/>
            <a:ext cx="4962805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778C4C83-CBBB-43B7-8CA1-15800F4FF1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996" y="2524966"/>
            <a:ext cx="495962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2D5A83F5-D380-405C-A134-1681FA791A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80576" y="2034628"/>
            <a:ext cx="526205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47AC124-B133-412E-B0C8-C733A5A92C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8277" y="3327959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1" name="Bildplatzhalter 9">
            <a:extLst>
              <a:ext uri="{FF2B5EF4-FFF2-40B4-BE49-F238E27FC236}">
                <a16:creationId xmlns:a16="http://schemas.microsoft.com/office/drawing/2014/main" id="{BF3FDFB1-FE4B-4E00-8A5E-7C705C797BE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58277" y="48438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6" name="Textplatzhalter 11">
            <a:extLst>
              <a:ext uri="{FF2B5EF4-FFF2-40B4-BE49-F238E27FC236}">
                <a16:creationId xmlns:a16="http://schemas.microsoft.com/office/drawing/2014/main" id="{E1CC5647-09AC-43CF-8FB0-495250281B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82815" y="3326504"/>
            <a:ext cx="525981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80" name="Textplatzhalter 11">
            <a:extLst>
              <a:ext uri="{FF2B5EF4-FFF2-40B4-BE49-F238E27FC236}">
                <a16:creationId xmlns:a16="http://schemas.microsoft.com/office/drawing/2014/main" id="{34482FC8-39A7-4E44-8BF0-6701234DA9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73265" y="3823736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81" name="Textplatzhalter 11">
            <a:extLst>
              <a:ext uri="{FF2B5EF4-FFF2-40B4-BE49-F238E27FC236}">
                <a16:creationId xmlns:a16="http://schemas.microsoft.com/office/drawing/2014/main" id="{03AE6129-D0F8-4E57-B4D8-ADE21CF624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73265" y="4034343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83" name="Textplatzhalter 11">
            <a:extLst>
              <a:ext uri="{FF2B5EF4-FFF2-40B4-BE49-F238E27FC236}">
                <a16:creationId xmlns:a16="http://schemas.microsoft.com/office/drawing/2014/main" id="{ED3F554C-E345-450A-9FA5-BA988E0D9B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82815" y="3544005"/>
            <a:ext cx="525981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8" name="Textplatzhalter 11">
            <a:extLst>
              <a:ext uri="{FF2B5EF4-FFF2-40B4-BE49-F238E27FC236}">
                <a16:creationId xmlns:a16="http://schemas.microsoft.com/office/drawing/2014/main" id="{03464F00-E2CE-4EF3-B4D6-73F09D87EF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82814" y="4850504"/>
            <a:ext cx="5259809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54" name="Textplatzhalter 11">
            <a:extLst>
              <a:ext uri="{FF2B5EF4-FFF2-40B4-BE49-F238E27FC236}">
                <a16:creationId xmlns:a16="http://schemas.microsoft.com/office/drawing/2014/main" id="{315E5A50-1AD0-43A4-9E5E-507A33A226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82814" y="5068005"/>
            <a:ext cx="5259809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55" name="Textplatzhalter 11">
            <a:extLst>
              <a:ext uri="{FF2B5EF4-FFF2-40B4-BE49-F238E27FC236}">
                <a16:creationId xmlns:a16="http://schemas.microsoft.com/office/drawing/2014/main" id="{E6AFFAD5-B741-4842-BF57-A739170380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73265" y="5347736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56" name="Textplatzhalter 11">
            <a:extLst>
              <a:ext uri="{FF2B5EF4-FFF2-40B4-BE49-F238E27FC236}">
                <a16:creationId xmlns:a16="http://schemas.microsoft.com/office/drawing/2014/main" id="{870B6530-504A-49B7-8D2E-F785F2B173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673265" y="5558343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ADDD3474-BB18-4FE4-B07F-41C864C428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95232599-53B2-4520-923F-11F273D5C3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783FE58B-0FE9-4C0B-92C8-3B16153715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083DF9D7-ADE5-4760-90AC-4AB72BFFEE0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2513490"/>
            <a:ext cx="162000" cy="162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D3AFF314-CF29-4D1C-ACDF-9DACD6219D4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0416" y="2306336"/>
            <a:ext cx="162000" cy="162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934C4E3-2D7B-4477-BF0A-4B9CB62C756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4026129"/>
            <a:ext cx="162000" cy="162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220970E7-4372-49C3-90A2-1850820340C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3816174"/>
            <a:ext cx="162000" cy="162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368BB615-AACD-4B20-9F4C-0BD1B34D41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2814" y="5549343"/>
            <a:ext cx="162000" cy="162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601E5CBB-99FA-44DE-BD22-26F18A2E979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5338736"/>
            <a:ext cx="1620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0641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0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00" y="1403759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Closing Slid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3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50800" y="2398214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6B241954-CE54-4ED1-B39C-46A4A3819A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E8F852C-CF63-456C-A9CF-3A6F9AB15D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3C75900-BC45-4EB3-AD1E-AF359B5DA5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366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3C52494-2483-4841-B982-E2F113AE0D74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C7DE1A76-751E-4D18-8C75-BA2B4C038E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89302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CA184500-8FBA-43ED-AB72-58250112CF59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196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196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196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196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139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28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139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28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139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28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139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28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55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01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155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01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155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01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155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01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31" name="Fußzeilenplatzhalter 12">
            <a:extLst>
              <a:ext uri="{FF2B5EF4-FFF2-40B4-BE49-F238E27FC236}">
                <a16:creationId xmlns:a16="http://schemas.microsoft.com/office/drawing/2014/main" id="{4BEA234A-56EB-47F0-B76F-074CD842C3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03043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61DAECD-170E-4628-B525-A254272D6BE5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AF3C72FA-3446-4DA3-BA66-3CF927EBB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7651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19" name="Bildplatzhalter 2">
            <a:extLst>
              <a:ext uri="{FF2B5EF4-FFF2-40B4-BE49-F238E27FC236}">
                <a16:creationId xmlns:a16="http://schemas.microsoft.com/office/drawing/2014/main" id="{573B162B-FDFC-4DCE-9D60-1ACFB47A97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27F698C-DFBC-4237-9CE5-F3928EF2F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0F88ED0-113C-47F0-9DE1-E721839838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762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1" name="Bildplatzhalter 2">
            <a:extLst>
              <a:ext uri="{FF2B5EF4-FFF2-40B4-BE49-F238E27FC236}">
                <a16:creationId xmlns:a16="http://schemas.microsoft.com/office/drawing/2014/main" id="{4652E065-26AB-4D32-AD4B-7D6654BA45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66241EC-1F6C-4DFF-A801-765F63FC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6E1B3BA-9ED0-42A8-BC30-BB3E7634A25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280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CDD4DE-4C38-22C4-8C41-F6D5FB68C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16005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60" imgH="360" progId="TCLayout.ActiveDocument.1">
                  <p:embed/>
                </p:oleObj>
              </mc:Choice>
              <mc:Fallback>
                <p:oleObj name="think-cell Folie" r:id="rId26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CDD4DE-4C38-22C4-8C41-F6D5FB68C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  <a:p>
            <a:pPr lvl="5"/>
            <a:r>
              <a:rPr lang="en-US" noProof="0" err="1"/>
              <a:t>Sixith</a:t>
            </a:r>
            <a:r>
              <a:rPr lang="en-US" noProof="0"/>
              <a:t> list level</a:t>
            </a:r>
          </a:p>
          <a:p>
            <a:pPr lvl="6"/>
            <a:r>
              <a:rPr lang="en-US" noProof="0"/>
              <a:t>Seventh list level</a:t>
            </a:r>
          </a:p>
          <a:p>
            <a:pPr lvl="7"/>
            <a:r>
              <a:rPr lang="en-US" noProof="0"/>
              <a:t>Eighth list level</a:t>
            </a:r>
          </a:p>
          <a:p>
            <a:pPr lvl="8"/>
            <a:r>
              <a:rPr lang="en-US" noProof="0"/>
              <a:t>Nineth list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0BB927A7-872E-4AF2-ADC2-0F2BEFE7C9CF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9C9386"/>
                </a:solidFill>
              </a:rPr>
              <a:t>Data Analytics | Prof. Dr. Wolfgang Kratsch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5311BF2-399B-4E20-86E1-6FEB121ED8A8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661223" y="407194"/>
            <a:ext cx="973932" cy="589885"/>
          </a:xfrm>
          <a:prstGeom prst="rect">
            <a:avLst/>
          </a:prstGeom>
        </p:spPr>
      </p:pic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D06A65C-3581-492C-AEF3-90FE2AEF761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C0B931EC-7E5C-48C6-80B7-0CC82EFDCDA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887B645-F71C-4E23-8E0E-ECB932E3FC7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8716FE8A-2A1D-4572-AF19-9EBF0D174BB5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</p:spTree>
    <p:extLst>
      <p:ext uri="{BB962C8B-B14F-4D97-AF65-F5344CB8AC3E}">
        <p14:creationId xmlns:p14="http://schemas.microsoft.com/office/powerpoint/2010/main" val="3310380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3975" r:id="rId2"/>
    <p:sldLayoutId id="2147483997" r:id="rId3"/>
    <p:sldLayoutId id="2147483945" r:id="rId4"/>
    <p:sldLayoutId id="2147484056" r:id="rId5"/>
    <p:sldLayoutId id="2147483946" r:id="rId6"/>
    <p:sldLayoutId id="2147484057" r:id="rId7"/>
    <p:sldLayoutId id="2147483947" r:id="rId8"/>
    <p:sldLayoutId id="2147483948" r:id="rId9"/>
    <p:sldLayoutId id="2147484029" r:id="rId10"/>
    <p:sldLayoutId id="2147484030" r:id="rId11"/>
    <p:sldLayoutId id="2147484031" r:id="rId12"/>
    <p:sldLayoutId id="2147484034" r:id="rId13"/>
    <p:sldLayoutId id="2147484035" r:id="rId14"/>
    <p:sldLayoutId id="2147484036" r:id="rId15"/>
    <p:sldLayoutId id="2147484037" r:id="rId16"/>
    <p:sldLayoutId id="2147483959" r:id="rId17"/>
    <p:sldLayoutId id="2147483960" r:id="rId18"/>
    <p:sldLayoutId id="2147483963" r:id="rId19"/>
    <p:sldLayoutId id="2147484048" r:id="rId20"/>
    <p:sldLayoutId id="2147484049" r:id="rId21"/>
    <p:sldLayoutId id="2147483964" r:id="rId22"/>
    <p:sldLayoutId id="2147484093" r:id="rId23"/>
  </p:sldLayoutIdLst>
  <p:hf hd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  <a:p>
            <a:pPr lvl="5"/>
            <a:r>
              <a:rPr lang="en-US" noProof="0"/>
              <a:t>Sixith list level</a:t>
            </a:r>
          </a:p>
          <a:p>
            <a:pPr lvl="6"/>
            <a:r>
              <a:rPr lang="en-US" noProof="0"/>
              <a:t>Seventh list level</a:t>
            </a:r>
          </a:p>
          <a:p>
            <a:pPr lvl="7"/>
            <a:r>
              <a:rPr lang="en-US" noProof="0"/>
              <a:t>Eighth list level</a:t>
            </a:r>
          </a:p>
          <a:p>
            <a:pPr lvl="8"/>
            <a:r>
              <a:rPr lang="en-US" noProof="0"/>
              <a:t>Nineth list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005A047F-B525-4326-9804-CD307C84DB71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5311BF2-399B-4E20-86E1-6FEB121ED8A8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661223" y="407194"/>
            <a:ext cx="973932" cy="589885"/>
          </a:xfrm>
          <a:prstGeom prst="rect">
            <a:avLst/>
          </a:prstGeom>
        </p:spPr>
      </p:pic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D06A65C-3581-492C-AEF3-90FE2AEF761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C0B931EC-7E5C-48C6-80B7-0CC82EFDCDA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887B645-F71C-4E23-8E0E-ECB932E3FC7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8716FE8A-2A1D-4572-AF19-9EBF0D174BB5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</p:spTree>
    <p:extLst>
      <p:ext uri="{BB962C8B-B14F-4D97-AF65-F5344CB8AC3E}">
        <p14:creationId xmlns:p14="http://schemas.microsoft.com/office/powerpoint/2010/main" val="3310380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92" r:id="rId21"/>
    <p:sldLayoutId id="2147484091" r:id="rId22"/>
    <p:sldLayoutId id="2147484090" r:id="rId23"/>
    <p:sldLayoutId id="2147484088" r:id="rId24"/>
    <p:sldLayoutId id="2147484089" r:id="rId25"/>
  </p:sldLayoutIdLst>
  <p:hf hd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F2706C-D7BC-C1E1-AE26-766C66031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for model-one-pag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12C85D-D3AD-FD75-EA1F-44363D796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683E5-923C-44F1-BD47-07514E4C1C94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7AEA33-6084-2F0B-E1C9-072A73772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noProof="0" smtClean="0"/>
              <a:pPr/>
              <a:t>1</a:t>
            </a:fld>
            <a:endParaRPr lang="en-US" noProof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04B252D-C359-3678-3D86-53273FEE9ED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What’s the principle of the model?</a:t>
            </a:r>
          </a:p>
          <a:p>
            <a:r>
              <a:rPr lang="en-US" dirty="0"/>
              <a:t>How does the model work?</a:t>
            </a:r>
          </a:p>
          <a:p>
            <a:r>
              <a:rPr lang="en-US" dirty="0"/>
              <a:t>When it should/should not be applied?</a:t>
            </a:r>
          </a:p>
          <a:p>
            <a:r>
              <a:rPr lang="en-US" dirty="0"/>
              <a:t>Basic example/illustratio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18DC39D6-FA6B-C00D-2980-D99298CC8FD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4EAB4B0-BC1A-3E9C-E57C-36B02F53BD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Data Analytics | Prof. Dr. Wolfgang Kratsch</a:t>
            </a:r>
            <a:endParaRPr lang="en-US" noProof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2365743-51DC-35F7-81D4-B630773826D9}"/>
              </a:ext>
            </a:extLst>
          </p:cNvPr>
          <p:cNvSpPr txBox="1"/>
          <p:nvPr/>
        </p:nvSpPr>
        <p:spPr>
          <a:xfrm>
            <a:off x="8063948" y="1449386"/>
            <a:ext cx="3717235" cy="450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Learning Strategy: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4B4B4B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Analytics Target: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4B4B4B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How to apply using </a:t>
            </a:r>
            <a:r>
              <a:rPr lang="en-US" sz="1400" dirty="0" err="1">
                <a:solidFill>
                  <a:srgbClr val="4B4B4B"/>
                </a:solidFill>
              </a:rPr>
              <a:t>sklearn</a:t>
            </a:r>
            <a:r>
              <a:rPr lang="en-US" sz="1400" dirty="0">
                <a:solidFill>
                  <a:srgbClr val="4B4B4B"/>
                </a:solidFill>
              </a:rPr>
              <a:t>:</a:t>
            </a:r>
          </a:p>
          <a:p>
            <a:pPr algn="l"/>
            <a:endParaRPr lang="en-US" sz="1400" dirty="0">
              <a:solidFill>
                <a:srgbClr val="4B4B4B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US" sz="14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966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F2706C-D7BC-C1E1-AE26-766C66031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Decision Tre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12C85D-D3AD-FD75-EA1F-44363D796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683E5-923C-44F1-BD47-07514E4C1C94}" type="datetime1">
              <a:rPr lang="de-DE" noProof="0" smtClean="0"/>
              <a:t>12.04.2023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7AEA33-6084-2F0B-E1C9-072A73772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7E8F-5052-4581-98D0-7C32D5A45346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04B252D-C359-3678-3D86-53273FEE9ED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A decision tree (DT) represents a decision procedure based on a sequence of „</a:t>
            </a:r>
            <a:r>
              <a:rPr lang="en-US" b="1" dirty="0">
                <a:solidFill>
                  <a:schemeClr val="tx2"/>
                </a:solidFill>
              </a:rPr>
              <a:t>questions</a:t>
            </a:r>
            <a:r>
              <a:rPr lang="en-US" dirty="0"/>
              <a:t>“ </a:t>
            </a:r>
          </a:p>
          <a:p>
            <a:r>
              <a:rPr lang="en-US" dirty="0"/>
              <a:t>These questions are usually called </a:t>
            </a:r>
            <a:r>
              <a:rPr lang="en-US" b="1" dirty="0">
                <a:solidFill>
                  <a:schemeClr val="tx2"/>
                </a:solidFill>
              </a:rPr>
              <a:t>tests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Each question is represented by a </a:t>
            </a:r>
            <a:r>
              <a:rPr lang="en-US" b="1" dirty="0">
                <a:solidFill>
                  <a:schemeClr val="tx2"/>
                </a:solidFill>
              </a:rPr>
              <a:t>node</a:t>
            </a:r>
            <a:r>
              <a:rPr lang="en-US" dirty="0"/>
              <a:t> in the DT</a:t>
            </a:r>
          </a:p>
          <a:p>
            <a:r>
              <a:rPr lang="en-US" dirty="0"/>
              <a:t>To find the most efficient tree, we apply a </a:t>
            </a:r>
            <a:r>
              <a:rPr lang="en-US" b="1" dirty="0">
                <a:solidFill>
                  <a:schemeClr val="tx2"/>
                </a:solidFill>
              </a:rPr>
              <a:t>greedy heuristic </a:t>
            </a:r>
            <a:r>
              <a:rPr lang="en-US" dirty="0"/>
              <a:t>that follows a divide-and-conquer strategy</a:t>
            </a:r>
          </a:p>
          <a:p>
            <a:pPr lvl="1"/>
            <a:r>
              <a:rPr lang="en-US" dirty="0"/>
              <a:t>Test the most „important“ attribute first</a:t>
            </a:r>
          </a:p>
          <a:p>
            <a:pPr lvl="1"/>
            <a:r>
              <a:rPr lang="en-US" dirty="0"/>
              <a:t>The sub-problems resulting from this test can be solved recursively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18DC39D6-FA6B-C00D-2980-D99298CC8FD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4DC5D6A4-B25A-7EDA-86A0-2A230B9641E6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4EAB4B0-BC1A-3E9C-E57C-36B02F53BD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Data Analytics | Prof. Dr. Wolfgang Kratsch</a:t>
            </a:r>
            <a:endParaRPr lang="en-US" noProof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2365743-51DC-35F7-81D4-B630773826D9}"/>
              </a:ext>
            </a:extLst>
          </p:cNvPr>
          <p:cNvSpPr txBox="1"/>
          <p:nvPr/>
        </p:nvSpPr>
        <p:spPr>
          <a:xfrm>
            <a:off x="8063948" y="1449386"/>
            <a:ext cx="3717235" cy="450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Learning Strategy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Supervised Learning</a:t>
            </a:r>
            <a:endParaRPr lang="en-US" sz="1400" dirty="0">
              <a:solidFill>
                <a:srgbClr val="4B4B4B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Analytics Target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Regression/Classification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4B4B4B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How to apply using </a:t>
            </a:r>
            <a:r>
              <a:rPr lang="en-US" sz="1400" dirty="0" err="1">
                <a:solidFill>
                  <a:srgbClr val="4B4B4B"/>
                </a:solidFill>
              </a:rPr>
              <a:t>sklearn</a:t>
            </a:r>
            <a:r>
              <a:rPr lang="en-US" sz="1400" dirty="0">
                <a:solidFill>
                  <a:srgbClr val="4B4B4B"/>
                </a:solidFill>
              </a:rPr>
              <a:t>:</a:t>
            </a:r>
          </a:p>
          <a:p>
            <a:pPr algn="l"/>
            <a:endParaRPr lang="en-US" sz="1400" dirty="0">
              <a:solidFill>
                <a:srgbClr val="4B4B4B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 </a:t>
            </a:r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klearn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mport tree</a:t>
            </a:r>
          </a:p>
          <a:p>
            <a:pPr algn="l"/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 = [[0, 0], [1, 1]]</a:t>
            </a:r>
          </a:p>
          <a:p>
            <a:pPr algn="l"/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 = [0, 1]</a:t>
            </a:r>
          </a:p>
          <a:p>
            <a:pPr algn="l"/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f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ee.DecisionTreeClassifier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algn="l"/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f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f.fit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X, Y)</a:t>
            </a:r>
          </a:p>
          <a:p>
            <a:pPr algn="l"/>
            <a:endParaRPr lang="en-US" sz="1400" dirty="0">
              <a:solidFill>
                <a:srgbClr val="4B4B4B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prediction (binary)</a:t>
            </a:r>
          </a:p>
          <a:p>
            <a:pPr algn="l"/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f.predict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[2., 2.]])</a:t>
            </a:r>
          </a:p>
          <a:p>
            <a:pPr algn="l"/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prediction (probabilities)</a:t>
            </a:r>
          </a:p>
          <a:p>
            <a:pPr algn="l"/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f.predict_proba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[2., 2.]])</a:t>
            </a:r>
          </a:p>
          <a:p>
            <a:pPr algn="l"/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print the tree</a:t>
            </a:r>
          </a:p>
          <a:p>
            <a:pPr algn="l"/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ee.plot_tree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f</a:t>
            </a:r>
            <a:r>
              <a:rPr lang="en-US" sz="1400" dirty="0">
                <a:solidFill>
                  <a:srgbClr val="4B4B4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algn="l"/>
            <a:endParaRPr lang="en-US" sz="1400" dirty="0">
              <a:solidFill>
                <a:srgbClr val="4B4B4B"/>
              </a:solidFill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3AFE03AD-335C-BC36-8899-1884E151A481}"/>
              </a:ext>
            </a:extLst>
          </p:cNvPr>
          <p:cNvSpPr/>
          <p:nvPr/>
        </p:nvSpPr>
        <p:spPr>
          <a:xfrm>
            <a:off x="2744821" y="4665709"/>
            <a:ext cx="628015" cy="4375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38100" dist="12700" dir="5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lvl="0" algn="ctr">
              <a:lnSpc>
                <a:spcPct val="120000"/>
              </a:lnSpc>
            </a:pPr>
            <a:r>
              <a:rPr lang="en-US" sz="1600">
                <a:solidFill>
                  <a:srgbClr val="535353"/>
                </a:solidFill>
                <a:ea typeface="Roboto Light" charset="0"/>
                <a:cs typeface="Roboto Light" charset="0"/>
              </a:rPr>
              <a:t>A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DF55F7A-08DB-46AE-A20B-AD4AC9742B4B}"/>
              </a:ext>
            </a:extLst>
          </p:cNvPr>
          <p:cNvSpPr/>
          <p:nvPr/>
        </p:nvSpPr>
        <p:spPr>
          <a:xfrm>
            <a:off x="2607116" y="423926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12CFE67-14C6-B4A7-1F37-68F2325F0C8F}"/>
              </a:ext>
            </a:extLst>
          </p:cNvPr>
          <p:cNvSpPr/>
          <p:nvPr/>
        </p:nvSpPr>
        <p:spPr>
          <a:xfrm>
            <a:off x="2762546" y="423926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6B8B094-0FF1-4EB9-D4BE-33B2C4E21ABD}"/>
              </a:ext>
            </a:extLst>
          </p:cNvPr>
          <p:cNvSpPr/>
          <p:nvPr/>
        </p:nvSpPr>
        <p:spPr>
          <a:xfrm>
            <a:off x="2917976" y="423926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2B459975-B537-554A-D4B6-DAD445D58F67}"/>
              </a:ext>
            </a:extLst>
          </p:cNvPr>
          <p:cNvSpPr/>
          <p:nvPr/>
        </p:nvSpPr>
        <p:spPr>
          <a:xfrm>
            <a:off x="3073406" y="423584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C1FA083B-ADD6-E8BA-50F4-90887C85C4B4}"/>
              </a:ext>
            </a:extLst>
          </p:cNvPr>
          <p:cNvSpPr/>
          <p:nvPr/>
        </p:nvSpPr>
        <p:spPr>
          <a:xfrm>
            <a:off x="3224156" y="423584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AC3A706-220F-8FA0-4F8D-C2E5C27B1FF5}"/>
              </a:ext>
            </a:extLst>
          </p:cNvPr>
          <p:cNvSpPr/>
          <p:nvPr/>
        </p:nvSpPr>
        <p:spPr>
          <a:xfrm>
            <a:off x="3372836" y="423584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52E39E86-78A1-2154-E705-79FFB0B91E1D}"/>
              </a:ext>
            </a:extLst>
          </p:cNvPr>
          <p:cNvSpPr/>
          <p:nvPr/>
        </p:nvSpPr>
        <p:spPr>
          <a:xfrm>
            <a:off x="2607116" y="4429415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F05EBD4-34BB-25FA-9CE6-FCB2019BDFB2}"/>
              </a:ext>
            </a:extLst>
          </p:cNvPr>
          <p:cNvSpPr/>
          <p:nvPr/>
        </p:nvSpPr>
        <p:spPr>
          <a:xfrm>
            <a:off x="2762546" y="4429415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3A3A72A-4C18-182E-04D8-AC6B7641C221}"/>
              </a:ext>
            </a:extLst>
          </p:cNvPr>
          <p:cNvSpPr/>
          <p:nvPr/>
        </p:nvSpPr>
        <p:spPr>
          <a:xfrm>
            <a:off x="2917976" y="4429415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07A4433D-F839-B130-94B4-DBBB703CE5E6}"/>
              </a:ext>
            </a:extLst>
          </p:cNvPr>
          <p:cNvSpPr/>
          <p:nvPr/>
        </p:nvSpPr>
        <p:spPr>
          <a:xfrm>
            <a:off x="3073406" y="4425995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34F31E6F-6BFA-F3A6-1577-1C366E119E07}"/>
              </a:ext>
            </a:extLst>
          </p:cNvPr>
          <p:cNvSpPr/>
          <p:nvPr/>
        </p:nvSpPr>
        <p:spPr>
          <a:xfrm>
            <a:off x="3224156" y="4425995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0ED303-8A74-D516-7385-FA229B466ACE}"/>
              </a:ext>
            </a:extLst>
          </p:cNvPr>
          <p:cNvSpPr/>
          <p:nvPr/>
        </p:nvSpPr>
        <p:spPr>
          <a:xfrm>
            <a:off x="3372836" y="4425995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A5B0CE70-0CD3-343A-A4F9-AD6782CE826A}"/>
              </a:ext>
            </a:extLst>
          </p:cNvPr>
          <p:cNvSpPr/>
          <p:nvPr/>
        </p:nvSpPr>
        <p:spPr>
          <a:xfrm>
            <a:off x="2176586" y="555752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52AAAEF1-8EB9-E8FF-20BF-92C9D2BBF333}"/>
              </a:ext>
            </a:extLst>
          </p:cNvPr>
          <p:cNvSpPr/>
          <p:nvPr/>
        </p:nvSpPr>
        <p:spPr>
          <a:xfrm>
            <a:off x="2332016" y="5557528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F67A082D-8990-D636-3869-71FE3501B4B8}"/>
              </a:ext>
            </a:extLst>
          </p:cNvPr>
          <p:cNvSpPr/>
          <p:nvPr/>
        </p:nvSpPr>
        <p:spPr>
          <a:xfrm>
            <a:off x="2829866" y="556094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794DF419-3D75-E4D8-B345-690856B82B6D}"/>
              </a:ext>
            </a:extLst>
          </p:cNvPr>
          <p:cNvSpPr/>
          <p:nvPr/>
        </p:nvSpPr>
        <p:spPr>
          <a:xfrm>
            <a:off x="2985296" y="556094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F7A6E90A-5504-A317-EED5-017275D55C3E}"/>
              </a:ext>
            </a:extLst>
          </p:cNvPr>
          <p:cNvSpPr/>
          <p:nvPr/>
        </p:nvSpPr>
        <p:spPr>
          <a:xfrm>
            <a:off x="3140726" y="556094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E87E3064-6769-3FA2-F038-EA5B53C1EE16}"/>
              </a:ext>
            </a:extLst>
          </p:cNvPr>
          <p:cNvSpPr/>
          <p:nvPr/>
        </p:nvSpPr>
        <p:spPr>
          <a:xfrm>
            <a:off x="3296156" y="555752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1C626296-B916-C29A-8904-8CD53F7BA7BD}"/>
              </a:ext>
            </a:extLst>
          </p:cNvPr>
          <p:cNvSpPr/>
          <p:nvPr/>
        </p:nvSpPr>
        <p:spPr>
          <a:xfrm>
            <a:off x="3787704" y="5561653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58F32C9E-8B6D-3701-DFD0-105A12890FE5}"/>
              </a:ext>
            </a:extLst>
          </p:cNvPr>
          <p:cNvSpPr/>
          <p:nvPr/>
        </p:nvSpPr>
        <p:spPr>
          <a:xfrm>
            <a:off x="3943134" y="5558233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DCE665C7-399E-E5AC-CE44-AC965C34CE3D}"/>
              </a:ext>
            </a:extLst>
          </p:cNvPr>
          <p:cNvSpPr/>
          <p:nvPr/>
        </p:nvSpPr>
        <p:spPr>
          <a:xfrm>
            <a:off x="4093884" y="5558233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60891017-AA66-3F5E-1B08-3BA2BF190D5A}"/>
              </a:ext>
            </a:extLst>
          </p:cNvPr>
          <p:cNvSpPr/>
          <p:nvPr/>
        </p:nvSpPr>
        <p:spPr>
          <a:xfrm>
            <a:off x="4242564" y="5558233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581F84BF-FA83-B507-38F7-C607DA2F881B}"/>
              </a:ext>
            </a:extLst>
          </p:cNvPr>
          <p:cNvSpPr/>
          <p:nvPr/>
        </p:nvSpPr>
        <p:spPr>
          <a:xfrm>
            <a:off x="4093884" y="5748380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93D71C2D-397B-C7D4-FF0E-2BFC242683E7}"/>
              </a:ext>
            </a:extLst>
          </p:cNvPr>
          <p:cNvSpPr/>
          <p:nvPr/>
        </p:nvSpPr>
        <p:spPr>
          <a:xfrm>
            <a:off x="4242564" y="5748380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955DCDF-2300-573B-E1AD-FDC63F3CDE8A}"/>
              </a:ext>
            </a:extLst>
          </p:cNvPr>
          <p:cNvCxnSpPr>
            <a:stCxn id="17" idx="2"/>
          </p:cNvCxnSpPr>
          <p:nvPr/>
        </p:nvCxnSpPr>
        <p:spPr>
          <a:xfrm flipH="1">
            <a:off x="2369291" y="5103301"/>
            <a:ext cx="689538" cy="36798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145F821A-116C-302B-C2B4-F1BF6D84A684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3058829" y="5103301"/>
            <a:ext cx="0" cy="32407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9F6966D3-E4DA-6336-E247-501A4D554B66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3058829" y="5103301"/>
            <a:ext cx="823287" cy="36798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12">
            <a:extLst>
              <a:ext uri="{FF2B5EF4-FFF2-40B4-BE49-F238E27FC236}">
                <a16:creationId xmlns:a16="http://schemas.microsoft.com/office/drawing/2014/main" id="{AC3A7348-999F-2A00-3077-B837ED7641B0}"/>
              </a:ext>
            </a:extLst>
          </p:cNvPr>
          <p:cNvSpPr/>
          <p:nvPr/>
        </p:nvSpPr>
        <p:spPr>
          <a:xfrm>
            <a:off x="6081994" y="4619562"/>
            <a:ext cx="628015" cy="4375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38100" dist="12700" dir="5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lvl="0" algn="ctr">
              <a:lnSpc>
                <a:spcPct val="120000"/>
              </a:lnSpc>
            </a:pPr>
            <a:r>
              <a:rPr lang="en-US" sz="1600">
                <a:solidFill>
                  <a:srgbClr val="535353"/>
                </a:solidFill>
                <a:ea typeface="Roboto Light" charset="0"/>
                <a:cs typeface="Roboto Light" charset="0"/>
              </a:rPr>
              <a:t>B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E6BBAD44-45FA-D382-4F10-AAB1C076250A}"/>
              </a:ext>
            </a:extLst>
          </p:cNvPr>
          <p:cNvSpPr/>
          <p:nvPr/>
        </p:nvSpPr>
        <p:spPr>
          <a:xfrm>
            <a:off x="5944289" y="419312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7A5547EE-CAF9-9033-C4FD-C10FBE4B0929}"/>
              </a:ext>
            </a:extLst>
          </p:cNvPr>
          <p:cNvSpPr/>
          <p:nvPr/>
        </p:nvSpPr>
        <p:spPr>
          <a:xfrm>
            <a:off x="6099719" y="419312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98755627-2019-E4FC-07BA-7020F2950C26}"/>
              </a:ext>
            </a:extLst>
          </p:cNvPr>
          <p:cNvSpPr/>
          <p:nvPr/>
        </p:nvSpPr>
        <p:spPr>
          <a:xfrm>
            <a:off x="6255149" y="419312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E07604D-89DC-2A07-B7B6-00EEDBC500EA}"/>
              </a:ext>
            </a:extLst>
          </p:cNvPr>
          <p:cNvSpPr/>
          <p:nvPr/>
        </p:nvSpPr>
        <p:spPr>
          <a:xfrm>
            <a:off x="6410579" y="418970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FE3F6265-561E-860D-A477-84885178D3EF}"/>
              </a:ext>
            </a:extLst>
          </p:cNvPr>
          <p:cNvSpPr/>
          <p:nvPr/>
        </p:nvSpPr>
        <p:spPr>
          <a:xfrm>
            <a:off x="6561329" y="418970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CD8274DF-8CD8-8D07-BAFA-44B45FFEB332}"/>
              </a:ext>
            </a:extLst>
          </p:cNvPr>
          <p:cNvSpPr/>
          <p:nvPr/>
        </p:nvSpPr>
        <p:spPr>
          <a:xfrm>
            <a:off x="6710009" y="418970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A883B235-8BA3-E261-3299-6020E8E9CABB}"/>
              </a:ext>
            </a:extLst>
          </p:cNvPr>
          <p:cNvSpPr/>
          <p:nvPr/>
        </p:nvSpPr>
        <p:spPr>
          <a:xfrm>
            <a:off x="5944289" y="438326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E9B8A46C-283C-44C2-4128-F9976F6396F2}"/>
              </a:ext>
            </a:extLst>
          </p:cNvPr>
          <p:cNvSpPr/>
          <p:nvPr/>
        </p:nvSpPr>
        <p:spPr>
          <a:xfrm>
            <a:off x="6099719" y="438326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42AF6921-A691-273C-9C5E-6BB024237217}"/>
              </a:ext>
            </a:extLst>
          </p:cNvPr>
          <p:cNvSpPr/>
          <p:nvPr/>
        </p:nvSpPr>
        <p:spPr>
          <a:xfrm>
            <a:off x="6255149" y="438326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A16AED34-898A-8DBB-4F22-2CE9007B6C1B}"/>
              </a:ext>
            </a:extLst>
          </p:cNvPr>
          <p:cNvSpPr/>
          <p:nvPr/>
        </p:nvSpPr>
        <p:spPr>
          <a:xfrm>
            <a:off x="6410579" y="437984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9012FE93-D984-FDD0-EC97-9A066C5FA9F7}"/>
              </a:ext>
            </a:extLst>
          </p:cNvPr>
          <p:cNvSpPr/>
          <p:nvPr/>
        </p:nvSpPr>
        <p:spPr>
          <a:xfrm>
            <a:off x="6561329" y="437984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DDE4C2A7-AB44-E276-3B7D-C416CEC9144B}"/>
              </a:ext>
            </a:extLst>
          </p:cNvPr>
          <p:cNvSpPr/>
          <p:nvPr/>
        </p:nvSpPr>
        <p:spPr>
          <a:xfrm>
            <a:off x="6710009" y="437984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C0D01495-189B-7EC4-14AF-821A8742CC51}"/>
              </a:ext>
            </a:extLst>
          </p:cNvPr>
          <p:cNvSpPr/>
          <p:nvPr/>
        </p:nvSpPr>
        <p:spPr>
          <a:xfrm>
            <a:off x="5513759" y="551138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846883E4-F755-5648-B14E-0E0023BF29B6}"/>
              </a:ext>
            </a:extLst>
          </p:cNvPr>
          <p:cNvSpPr/>
          <p:nvPr/>
        </p:nvSpPr>
        <p:spPr>
          <a:xfrm>
            <a:off x="5669189" y="551138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81AE918E-A5E3-EE21-3D6F-B3761380779B}"/>
              </a:ext>
            </a:extLst>
          </p:cNvPr>
          <p:cNvSpPr/>
          <p:nvPr/>
        </p:nvSpPr>
        <p:spPr>
          <a:xfrm>
            <a:off x="5515711" y="570152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95D18549-BBEC-CA03-B4F3-EDBBD9B1911F}"/>
              </a:ext>
            </a:extLst>
          </p:cNvPr>
          <p:cNvCxnSpPr>
            <a:stCxn id="45" idx="2"/>
          </p:cNvCxnSpPr>
          <p:nvPr/>
        </p:nvCxnSpPr>
        <p:spPr>
          <a:xfrm flipH="1">
            <a:off x="5706464" y="5057154"/>
            <a:ext cx="689538" cy="36798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7703EE2A-1CB8-09B5-F20F-24AFA439FBA5}"/>
              </a:ext>
            </a:extLst>
          </p:cNvPr>
          <p:cNvCxnSpPr>
            <a:cxnSpLocks/>
            <a:stCxn id="45" idx="2"/>
          </p:cNvCxnSpPr>
          <p:nvPr/>
        </p:nvCxnSpPr>
        <p:spPr>
          <a:xfrm>
            <a:off x="6396002" y="5057154"/>
            <a:ext cx="0" cy="32407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134EEDAA-0789-BA2B-3770-576A578E5C3C}"/>
              </a:ext>
            </a:extLst>
          </p:cNvPr>
          <p:cNvCxnSpPr>
            <a:cxnSpLocks/>
            <a:stCxn id="45" idx="2"/>
          </p:cNvCxnSpPr>
          <p:nvPr/>
        </p:nvCxnSpPr>
        <p:spPr>
          <a:xfrm>
            <a:off x="6396002" y="5057154"/>
            <a:ext cx="689537" cy="36798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Ellipse 63">
            <a:extLst>
              <a:ext uri="{FF2B5EF4-FFF2-40B4-BE49-F238E27FC236}">
                <a16:creationId xmlns:a16="http://schemas.microsoft.com/office/drawing/2014/main" id="{D2CB7EF7-D155-001F-7F80-4BE2150844DD}"/>
              </a:ext>
            </a:extLst>
          </p:cNvPr>
          <p:cNvSpPr/>
          <p:nvPr/>
        </p:nvSpPr>
        <p:spPr>
          <a:xfrm>
            <a:off x="5668380" y="570152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8FFE2B90-65DB-BFE4-0426-16988ECBCF46}"/>
              </a:ext>
            </a:extLst>
          </p:cNvPr>
          <p:cNvSpPr/>
          <p:nvPr/>
        </p:nvSpPr>
        <p:spPr>
          <a:xfrm>
            <a:off x="6230982" y="551124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9C47B8ED-6267-B9A0-EF49-7BDB94BE90A2}"/>
              </a:ext>
            </a:extLst>
          </p:cNvPr>
          <p:cNvSpPr/>
          <p:nvPr/>
        </p:nvSpPr>
        <p:spPr>
          <a:xfrm>
            <a:off x="6386412" y="5511241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988358C5-D9F0-0C4F-AFD0-D92F90F92DC0}"/>
              </a:ext>
            </a:extLst>
          </p:cNvPr>
          <p:cNvSpPr/>
          <p:nvPr/>
        </p:nvSpPr>
        <p:spPr>
          <a:xfrm>
            <a:off x="6232934" y="570138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D3CBF78B-FAF3-A028-D899-DA5EAE61AE2F}"/>
              </a:ext>
            </a:extLst>
          </p:cNvPr>
          <p:cNvSpPr/>
          <p:nvPr/>
        </p:nvSpPr>
        <p:spPr>
          <a:xfrm>
            <a:off x="6385603" y="5701388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95B6190C-7CE5-8018-35EF-AB8BDF5F22B7}"/>
              </a:ext>
            </a:extLst>
          </p:cNvPr>
          <p:cNvSpPr/>
          <p:nvPr/>
        </p:nvSpPr>
        <p:spPr>
          <a:xfrm>
            <a:off x="6948816" y="5505680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FB74AE3F-EE57-98AE-D32E-120B10F1298D}"/>
              </a:ext>
            </a:extLst>
          </p:cNvPr>
          <p:cNvSpPr/>
          <p:nvPr/>
        </p:nvSpPr>
        <p:spPr>
          <a:xfrm>
            <a:off x="7104246" y="5505680"/>
            <a:ext cx="144000" cy="14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FC592094-96AE-275A-0A07-9D0B692ED320}"/>
              </a:ext>
            </a:extLst>
          </p:cNvPr>
          <p:cNvSpPr/>
          <p:nvPr/>
        </p:nvSpPr>
        <p:spPr>
          <a:xfrm>
            <a:off x="6950768" y="5695827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EDA889F1-2956-045F-0B4C-EDCC22B42BEA}"/>
              </a:ext>
            </a:extLst>
          </p:cNvPr>
          <p:cNvSpPr/>
          <p:nvPr/>
        </p:nvSpPr>
        <p:spPr>
          <a:xfrm>
            <a:off x="7103437" y="5695827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24AB5553-6DAE-2BB6-3FA5-277054877FB7}"/>
              </a:ext>
            </a:extLst>
          </p:cNvPr>
          <p:cNvSpPr/>
          <p:nvPr/>
        </p:nvSpPr>
        <p:spPr>
          <a:xfrm>
            <a:off x="1444100" y="4065869"/>
            <a:ext cx="3704111" cy="2074864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6977DEB2-C0CB-E645-20F4-2780A62964EC}"/>
              </a:ext>
            </a:extLst>
          </p:cNvPr>
          <p:cNvSpPr txBox="1"/>
          <p:nvPr/>
        </p:nvSpPr>
        <p:spPr>
          <a:xfrm>
            <a:off x="500857" y="3867140"/>
            <a:ext cx="1930970" cy="18286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400" dirty="0">
                <a:solidFill>
                  <a:srgbClr val="4B4B4B"/>
                </a:solidFill>
              </a:rPr>
              <a:t>We select </a:t>
            </a:r>
            <a:r>
              <a:rPr lang="en-US" sz="1400" b="1" dirty="0">
                <a:solidFill>
                  <a:schemeClr val="tx2"/>
                </a:solidFill>
              </a:rPr>
              <a:t>attribute A</a:t>
            </a:r>
            <a:r>
              <a:rPr lang="en-US" sz="1400" dirty="0">
                <a:solidFill>
                  <a:srgbClr val="4B4B4B"/>
                </a:solidFill>
              </a:rPr>
              <a:t> to split the data</a:t>
            </a:r>
          </a:p>
          <a:p>
            <a:pPr algn="l"/>
            <a:endParaRPr lang="en-US" sz="14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031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chschule Augsburg">
  <a:themeElements>
    <a:clrScheme name="HSA">
      <a:dk1>
        <a:srgbClr val="000000"/>
      </a:dk1>
      <a:lt1>
        <a:srgbClr val="FFFFFF"/>
      </a:lt1>
      <a:dk2>
        <a:srgbClr val="F18700"/>
      </a:dk2>
      <a:lt2>
        <a:srgbClr val="D9D9D9"/>
      </a:lt2>
      <a:accent1>
        <a:srgbClr val="E50055"/>
      </a:accent1>
      <a:accent2>
        <a:srgbClr val="92887A"/>
      </a:accent2>
      <a:accent3>
        <a:srgbClr val="766E61"/>
      </a:accent3>
      <a:accent4>
        <a:srgbClr val="457E9F"/>
      </a:accent4>
      <a:accent5>
        <a:srgbClr val="179C7D"/>
      </a:accent5>
      <a:accent6>
        <a:srgbClr val="B10034"/>
      </a:accent6>
      <a:hlink>
        <a:srgbClr val="F18700"/>
      </a:hlink>
      <a:folHlink>
        <a:srgbClr val="E50055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M_Folienmaster_16x9_EN.potx" id="{EDEB0684-86FF-4BA6-BF78-55629FA41074}" vid="{13CEF533-DF10-450E-A627-63146B440AFC}"/>
    </a:ext>
  </a:extLst>
</a:theme>
</file>

<file path=ppt/theme/theme2.xml><?xml version="1.0" encoding="utf-8"?>
<a:theme xmlns:a="http://schemas.openxmlformats.org/drawingml/2006/main" name="Hochschule Augsburg">
  <a:themeElements>
    <a:clrScheme name="HSA">
      <a:dk1>
        <a:srgbClr val="000000"/>
      </a:dk1>
      <a:lt1>
        <a:srgbClr val="FFFFFF"/>
      </a:lt1>
      <a:dk2>
        <a:srgbClr val="F18700"/>
      </a:dk2>
      <a:lt2>
        <a:srgbClr val="D9D9D9"/>
      </a:lt2>
      <a:accent1>
        <a:srgbClr val="E50055"/>
      </a:accent1>
      <a:accent2>
        <a:srgbClr val="92887A"/>
      </a:accent2>
      <a:accent3>
        <a:srgbClr val="766E61"/>
      </a:accent3>
      <a:accent4>
        <a:srgbClr val="457E9F"/>
      </a:accent4>
      <a:accent5>
        <a:srgbClr val="179C7D"/>
      </a:accent5>
      <a:accent6>
        <a:srgbClr val="B10034"/>
      </a:accent6>
      <a:hlink>
        <a:srgbClr val="F18700"/>
      </a:hlink>
      <a:folHlink>
        <a:srgbClr val="E50055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M_Folienmaster_16x9_EN.potx" id="{EDEB0684-86FF-4BA6-BF78-55629FA41074}" vid="{13CEF533-DF10-450E-A627-63146B440AF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F0C8D79651D7645B52F66E84B80D2D8" ma:contentTypeVersion="4" ma:contentTypeDescription="Ein neues Dokument erstellen." ma:contentTypeScope="" ma:versionID="947765ae318b7940c9cf872ad0817f66">
  <xsd:schema xmlns:xsd="http://www.w3.org/2001/XMLSchema" xmlns:xs="http://www.w3.org/2001/XMLSchema" xmlns:p="http://schemas.microsoft.com/office/2006/metadata/properties" xmlns:ns2="66b91739-0abb-4e97-a2e3-21349fcfcedd" targetNamespace="http://schemas.microsoft.com/office/2006/metadata/properties" ma:root="true" ma:fieldsID="19edd8b5ee802114d4dcaa714bbee3ff" ns2:_="">
    <xsd:import namespace="66b91739-0abb-4e97-a2e3-21349fcfce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b91739-0abb-4e97-a2e3-21349fcfce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9FEDC57-5F61-44C5-990E-9731E8986F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b91739-0abb-4e97-a2e3-21349fcfce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AA1AC1C-FEE9-46FF-97E3-2D980C6A0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BA62DE-A85D-42F2-9269-7C5BB32494CB}">
  <ds:schemaRefs>
    <ds:schemaRef ds:uri="http://purl.org/dc/elements/1.1/"/>
    <ds:schemaRef ds:uri="66b91739-0abb-4e97-a2e3-21349fcfcedd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2</Words>
  <Application>Microsoft Office PowerPoint</Application>
  <PresentationFormat>Breitbild</PresentationFormat>
  <Paragraphs>45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1" baseType="lpstr">
      <vt:lpstr>Arial</vt:lpstr>
      <vt:lpstr>Calibri</vt:lpstr>
      <vt:lpstr>Courier New</vt:lpstr>
      <vt:lpstr>Lucida Grande</vt:lpstr>
      <vt:lpstr>Trebuchet MS</vt:lpstr>
      <vt:lpstr>Wingdings</vt:lpstr>
      <vt:lpstr>Hochschule Augsburg</vt:lpstr>
      <vt:lpstr>Hochschule Augsburg</vt:lpstr>
      <vt:lpstr>think-cell Folie</vt:lpstr>
      <vt:lpstr>Template for model-one-pager</vt:lpstr>
      <vt:lpstr>Example: Decision Tre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/>
  <cp:keywords/>
  <dc:description/>
  <cp:lastModifiedBy>Kratsch, Wolfgang, Prof. Dr.</cp:lastModifiedBy>
  <cp:revision>2</cp:revision>
  <dcterms:created xsi:type="dcterms:W3CDTF">2023-03-03T13:45:35Z</dcterms:created>
  <dcterms:modified xsi:type="dcterms:W3CDTF">2023-04-12T12:12:3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0C8D79651D7645B52F66E84B80D2D8</vt:lpwstr>
  </property>
  <property fmtid="{D5CDD505-2E9C-101B-9397-08002B2CF9AE}" pid="3" name="MediaServiceImageTags">
    <vt:lpwstr/>
  </property>
</Properties>
</file>